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78"/>
  </p:notesMasterIdLst>
  <p:handoutMasterIdLst>
    <p:handoutMasterId r:id="rId79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321" r:id="rId45"/>
    <p:sldId id="280" r:id="rId46"/>
    <p:sldId id="279" r:id="rId47"/>
    <p:sldId id="292" r:id="rId48"/>
    <p:sldId id="291" r:id="rId49"/>
    <p:sldId id="310" r:id="rId50"/>
    <p:sldId id="325" r:id="rId51"/>
    <p:sldId id="329" r:id="rId52"/>
    <p:sldId id="308" r:id="rId53"/>
    <p:sldId id="328" r:id="rId54"/>
    <p:sldId id="322" r:id="rId55"/>
    <p:sldId id="326" r:id="rId56"/>
    <p:sldId id="330" r:id="rId57"/>
    <p:sldId id="331" r:id="rId58"/>
    <p:sldId id="332" r:id="rId59"/>
    <p:sldId id="324" r:id="rId60"/>
    <p:sldId id="335" r:id="rId61"/>
    <p:sldId id="327" r:id="rId62"/>
    <p:sldId id="343" r:id="rId63"/>
    <p:sldId id="344" r:id="rId64"/>
    <p:sldId id="345" r:id="rId65"/>
    <p:sldId id="338" r:id="rId66"/>
    <p:sldId id="334" r:id="rId67"/>
    <p:sldId id="336" r:id="rId68"/>
    <p:sldId id="309" r:id="rId69"/>
    <p:sldId id="337" r:id="rId70"/>
    <p:sldId id="339" r:id="rId71"/>
    <p:sldId id="340" r:id="rId72"/>
    <p:sldId id="341" r:id="rId73"/>
    <p:sldId id="290" r:id="rId74"/>
    <p:sldId id="281" r:id="rId75"/>
    <p:sldId id="289" r:id="rId76"/>
    <p:sldId id="342" r:id="rId77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notesMaster" Target="notesMasters/notesMaster1.xml"/><Relationship Id="rId8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inh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FF-402F-ADAF-69ED0161F7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4607624"/>
        <c:axId val="444610904"/>
      </c:line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4A-43BA-8B75-D578383410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4A-43BA-8B75-D578383410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4A-43BA-8B75-D57838341034}"/>
              </c:ext>
            </c:extLst>
          </c:dPt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E4A-43BA-8B75-D57838341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86766977317296E-2"/>
          <c:y val="0.10218596986817328"/>
          <c:w val="0.98751323302268268"/>
          <c:h val="0.76596092278719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3A-430C-B373-1FA6F5B82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skerville Old Face" panose="02020602080505020303" pitchFamily="18" charset="0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1"/>
        <c:axPos val="l"/>
        <c:numFmt formatCode="_-&quot;R$&quot;\ * #,##0_-;\-&quot;R$&quot;\ * #,##0_-;_-&quot;R$&quot;\ * &quot;-&quot;??_-;_-@_-" sourceLinked="1"/>
        <c:majorTickMark val="none"/>
        <c:minorTickMark val="none"/>
        <c:tickLblPos val="nextTo"/>
        <c:crossAx val="444607624"/>
        <c:crosses val="autoZero"/>
        <c:crossBetween val="between"/>
      </c:valAx>
      <c:spPr>
        <a:solidFill>
          <a:schemeClr val="accent4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/>
            <a:t>Não sei o quanto sei</a:t>
          </a:r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/>
            <a:t>Sei que Sei</a:t>
          </a:r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/>
            <a:t>Sei que não sei</a:t>
          </a:r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/>
            <a:t>Não sei que não sei</a:t>
          </a:r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/>
            <a:t>+Competência</a:t>
          </a:r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/>
            <a:t>++Competência</a:t>
          </a:r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mpetência</a:t>
          </a:r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+Competência</a:t>
          </a:r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o quanto sei</a:t>
          </a:r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Sei</a:t>
          </a:r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não sei</a:t>
          </a:r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que não sei</a:t>
          </a:r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06/12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06/12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>
                <a:latin typeface="Corbel" panose="020B0503020204020204" pitchFamily="34" charset="0"/>
              </a:rPr>
              <a:t> e Bob </a:t>
            </a:r>
            <a:r>
              <a:rPr lang="pt-BR" sz="1800" dirty="0" err="1">
                <a:latin typeface="Corbel" panose="020B0503020204020204" pitchFamily="34" charset="0"/>
              </a:rPr>
              <a:t>Frankston</a:t>
            </a:r>
            <a:r>
              <a:rPr lang="pt-BR" sz="1800" dirty="0">
                <a:latin typeface="Corbel" panose="020B0503020204020204" pitchFamily="34" charset="0"/>
              </a:rPr>
              <a:t> baseada na </a:t>
            </a:r>
            <a:r>
              <a:rPr lang="pt-BR" sz="1800" dirty="0" err="1">
                <a:latin typeface="Corbel" panose="020B0503020204020204" pitchFamily="34" charset="0"/>
              </a:rPr>
              <a:t>idéia</a:t>
            </a:r>
            <a:r>
              <a:rPr lang="pt-BR" sz="1800" dirty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>
                <a:latin typeface="Corbel" panose="020B0503020204020204" pitchFamily="34" charset="0"/>
              </a:rPr>
              <a:t>MS-Dos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undaram a empresa </a:t>
            </a:r>
            <a:r>
              <a:rPr lang="pt-BR" sz="1800" dirty="0" err="1">
                <a:latin typeface="Corbel" panose="020B0503020204020204" pitchFamily="34" charset="0"/>
              </a:rPr>
              <a:t>Visicalc</a:t>
            </a:r>
            <a:r>
              <a:rPr lang="pt-BR" sz="1800" dirty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Concorrente: </a:t>
            </a:r>
            <a:r>
              <a:rPr lang="pt-BR" sz="1800" u="sng" dirty="0" err="1">
                <a:latin typeface="Corbel" panose="020B0503020204020204" pitchFamily="34" charset="0"/>
              </a:rPr>
              <a:t>Supercalc</a:t>
            </a:r>
            <a:r>
              <a:rPr lang="pt-BR" sz="1800" u="sng" dirty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pela </a:t>
            </a:r>
            <a:r>
              <a:rPr lang="pt-BR" sz="1800" dirty="0" err="1">
                <a:latin typeface="Corbel" panose="020B0503020204020204" pitchFamily="34" charset="0"/>
              </a:rPr>
              <a:t>Sorcim</a:t>
            </a:r>
            <a:r>
              <a:rPr lang="pt-BR" sz="1800" dirty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>
                <a:latin typeface="Corbel" panose="020B0503020204020204" pitchFamily="34" charset="0"/>
              </a:rPr>
              <a:t>Sourcim</a:t>
            </a:r>
            <a:r>
              <a:rPr lang="pt-BR" sz="1800" dirty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>
                <a:latin typeface="Corbel" panose="020B0503020204020204" pitchFamily="34" charset="0"/>
              </a:rPr>
              <a:t>add-ins</a:t>
            </a:r>
            <a:r>
              <a:rPr lang="pt-BR" sz="1800" dirty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>
                <a:latin typeface="Corbel" panose="020B0503020204020204" pitchFamily="34" charset="0"/>
              </a:rPr>
              <a:t>Machintosh</a:t>
            </a:r>
            <a:r>
              <a:rPr lang="pt-BR" sz="1800" dirty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5: Excel 1.0 para Macintosh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7: Excel 2.0 para Windows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0: Excel 3.0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2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1MM linhas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no salári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cedo. O QUE ESTÁ POR VIR (ML)?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/>
              <a:t>Fundamentos - Área de Trabalho</a:t>
            </a:r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ormulas</a:t>
              </a:r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Menu ou Guia</a:t>
              </a:r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Grupo de Ferramentas</a:t>
              </a:r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erramentas ou Comando</a:t>
              </a:r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aixa de Opções</a:t>
              </a:r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Caixa de Nomes</a:t>
              </a:r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erramentas de Acesso Rápido</a:t>
              </a:r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Linha</a:t>
              </a:r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Coluna</a:t>
              </a:r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Aba da Planilha</a:t>
              </a:r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Zoom</a:t>
              </a:r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o Arquivo</a:t>
              </a:r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/>
              <a:t>Conceito mais importante do Excel</a:t>
            </a:r>
          </a:p>
          <a:p>
            <a:r>
              <a:rPr lang="pt-BR" dirty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oluna D</a:t>
            </a:r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Linha 5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= Célula D5</a:t>
            </a:r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O que espera do Curso</a:t>
            </a: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Validação de dados: Guia Dados,  Grupo 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Função Média: Guia Fórmulas, Grupo Biblioteca de Funções, Menu Auto Soma, Comando Médi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de planilha habilitado para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de suplemento (programa VBA de Excel)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</a:t>
            </a:r>
            <a:r>
              <a:rPr lang="pt-BR" sz="1800" dirty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</a:t>
            </a:r>
            <a:r>
              <a:rPr lang="pt-BR" sz="1800" dirty="0">
                <a:latin typeface="Corbel" panose="020B0503020204020204" pitchFamily="34" charset="0"/>
              </a:rPr>
              <a:t> :  formato de suplemento com macro antigo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Csv</a:t>
            </a:r>
            <a:r>
              <a:rPr lang="pt-BR" sz="1800" dirty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: formato padrão 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 (</a:t>
            </a:r>
            <a:r>
              <a:rPr lang="pt-BR" sz="1800" dirty="0" err="1">
                <a:latin typeface="Corbel" panose="020B0503020204020204" pitchFamily="34" charset="0"/>
              </a:rPr>
              <a:t>e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>
                <a:latin typeface="Corbel" panose="020B0503020204020204" pitchFamily="34" charset="0"/>
              </a:rPr>
              <a:t>treme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>
                <a:latin typeface="Corbel" panose="020B0503020204020204" pitchFamily="34" charset="0"/>
              </a:rPr>
              <a:t>arkup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>
                <a:latin typeface="Corbel" panose="020B0503020204020204" pitchFamily="34" charset="0"/>
              </a:rPr>
              <a:t>anguage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lique simples na célula &gt;&gt; Digitar &gt;&gt;[Confirma]:: irá sobrescrever a informação que já existe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irá habilitar edição completa da célula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</a:t>
            </a:r>
            <a:r>
              <a:rPr lang="pt-BR" sz="1800" dirty="0" err="1">
                <a:latin typeface="Corbel" panose="020B0503020204020204" pitchFamily="34" charset="0"/>
              </a:rPr>
              <a:t>Esc</a:t>
            </a:r>
            <a:r>
              <a:rPr lang="pt-BR" sz="1800" dirty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iciadas sempre por “ = “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>
                <a:latin typeface="Corbel" panose="020B0503020204020204" pitchFamily="34" charset="0"/>
              </a:rPr>
              <a:t>Enter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>
                <a:latin typeface="Corbel" panose="020B0503020204020204" pitchFamily="34" charset="0"/>
              </a:rPr>
              <a:t>Exponenciação</a:t>
            </a:r>
            <a:r>
              <a:rPr lang="pt-BR" sz="1800" dirty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Absoluta (Congelar)  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B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Relativo&gt;&gt; B2 :: caminha junto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5 min</a:t>
            </a:r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Biblioteca organizada por categoria de uso. Cada input/pedaço de função é chamado de “argumento” que fica dentro do </a:t>
            </a:r>
            <a:r>
              <a:rPr lang="pt-BR" sz="1800" dirty="0" err="1"/>
              <a:t>parentesis</a:t>
            </a:r>
            <a:r>
              <a:rPr lang="pt-BR" sz="1800" dirty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ode ou não possuir argumento.  Argumento pode ser opcional “[“ ou obrigatório.</a:t>
            </a:r>
          </a:p>
          <a:p>
            <a:pPr marL="0" indent="0">
              <a:buNone/>
            </a:pPr>
            <a:r>
              <a:rPr lang="pt-BR" sz="1800" dirty="0"/>
              <a:t>=SOMA(num1;[num2]) &gt;&gt; 2º Argumento é Opcional “[num2]”</a:t>
            </a:r>
          </a:p>
          <a:p>
            <a:pPr marL="0" indent="0">
              <a:buNone/>
            </a:pPr>
            <a:r>
              <a:rPr lang="pt-BR" sz="1800" dirty="0"/>
              <a:t>Sem argumento  = Hoje() &gt;&gt; 22/08/2018 -  normalmente usados para informação (não realizam calculo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Caminho: botão função, Guia fórmulas, digitação direta na célula.</a:t>
            </a:r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DIV/</a:t>
            </a: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>
                <a:latin typeface="Corbel" panose="020B0503020204020204" pitchFamily="34" charset="0"/>
              </a:rPr>
              <a:t>Ex</a:t>
            </a:r>
            <a:r>
              <a:rPr lang="pt-BR" sz="1800" dirty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7:50 as 18:00 – Dúvidas</a:t>
            </a: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O 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o valor que queremos.</a:t>
            </a:r>
          </a:p>
          <a:p>
            <a:pPr marL="0" indent="0">
              <a:buNone/>
            </a:pPr>
            <a:r>
              <a:rPr lang="pt-BR" sz="1800" dirty="0"/>
              <a:t>Caminho: Guia Dados&gt; Grupo Previsão &gt; Menu teste de </a:t>
            </a:r>
            <a:r>
              <a:rPr lang="pt-BR" sz="1800" dirty="0" err="1"/>
              <a:t>Hipotese</a:t>
            </a:r>
            <a:r>
              <a:rPr lang="pt-BR" sz="1800" dirty="0"/>
              <a:t> &gt; Comando Atingir Meta</a:t>
            </a:r>
          </a:p>
          <a:p>
            <a:pPr marL="0" indent="0">
              <a:buNone/>
            </a:pPr>
            <a:r>
              <a:rPr lang="pt-BR" sz="1800" dirty="0"/>
              <a:t>No Exemplo quero saber qual o Volume de quantidades necessárias (Célula Verde) para que o lucro(célula laranja)  seja igual à “zero”.</a:t>
            </a:r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Solução Atendida</a:t>
            </a:r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Numero encontrado pelo comando atingir meta</a:t>
            </a:r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</a:t>
            </a:r>
            <a:r>
              <a:rPr lang="pt-BR" sz="1000" dirty="0" err="1"/>
              <a:t>Celula</a:t>
            </a:r>
            <a:r>
              <a:rPr lang="pt-BR" sz="1000" dirty="0"/>
              <a:t> onde esta o Numero que será Alterado</a:t>
            </a:r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célula onde esta o valor que queremos como ALVO</a:t>
            </a:r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O Valor que queremos como ALVO</a:t>
            </a:r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>
                <a:latin typeface="Corbel" panose="020B0503020204020204" pitchFamily="34" charset="0"/>
              </a:rPr>
              <a:t>mesclagem</a:t>
            </a:r>
            <a:r>
              <a:rPr lang="pt-BR" sz="1800" dirty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enu flutuante/context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>
                <a:latin typeface="Corbel" panose="020B0503020204020204" pitchFamily="34" charset="0"/>
              </a:rPr>
              <a:t>Ctrl+C</a:t>
            </a:r>
            <a:r>
              <a:rPr lang="pt-BR" sz="1800" dirty="0">
                <a:latin typeface="Corbel" panose="020B0503020204020204" pitchFamily="34" charset="0"/>
              </a:rPr>
              <a:t> , </a:t>
            </a:r>
            <a:r>
              <a:rPr lang="pt-BR" sz="1800" dirty="0" err="1">
                <a:latin typeface="Corbel" panose="020B0503020204020204" pitchFamily="34" charset="0"/>
              </a:rPr>
              <a:t>CTrl+V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>
                <a:latin typeface="Corbel" panose="020B0503020204020204" pitchFamily="34" charset="0"/>
              </a:rPr>
              <a:t>Backspace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inha: Selecionar a linh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 : Selecionar a coluna ou Linha com botão Direito do Mouse e “Ocultar” / Guia 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DES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: Selecionar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>
                <a:latin typeface="Corbel" panose="020B0503020204020204" pitchFamily="34" charset="0"/>
              </a:rPr>
              <a:t>da coluna/linha 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Formate a Tabela do Exercício 3 anterior (tabuada) 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>
                <a:solidFill>
                  <a:schemeClr val="tx1"/>
                </a:solidFill>
              </a:rPr>
              <a:t>Algerian</a:t>
            </a:r>
            <a:r>
              <a:rPr lang="pt-BR" sz="1000" dirty="0">
                <a:solidFill>
                  <a:schemeClr val="tx1"/>
                </a:solidFill>
              </a:rPr>
              <a:t> 12, Negrito</a:t>
            </a: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Linhas de Grades Ocultadas (Menu Exibir)</a:t>
            </a: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/>
              <a:t>Disponível pelo seta preta  + duplo clique ou clicar, segurar e arrastar.</a:t>
            </a:r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/>
              <a:t>Area</a:t>
            </a:r>
            <a:r>
              <a:rPr lang="pt-BR" sz="2000" dirty="0"/>
              <a:t> de Trabalho, Tipo de arquivos, salvar, abrir</a:t>
            </a:r>
          </a:p>
          <a:p>
            <a:r>
              <a:rPr lang="pt-BR" sz="2000" dirty="0"/>
              <a:t>Inserir dados, inserir linha e coluna</a:t>
            </a:r>
          </a:p>
          <a:p>
            <a:r>
              <a:rPr lang="pt-BR" sz="2000" dirty="0" err="1"/>
              <a:t>Exluir</a:t>
            </a:r>
            <a:r>
              <a:rPr lang="pt-BR" sz="2000" dirty="0"/>
              <a:t> dados, linhas e colunas</a:t>
            </a:r>
          </a:p>
          <a:p>
            <a:r>
              <a:rPr lang="pt-BR" sz="2000" dirty="0"/>
              <a:t>Formulas  aritméticas e </a:t>
            </a:r>
            <a:r>
              <a:rPr lang="pt-BR" sz="2000" dirty="0" err="1"/>
              <a:t>formulos</a:t>
            </a:r>
            <a:r>
              <a:rPr lang="pt-BR" sz="2000" dirty="0"/>
              <a:t> sem argumentos (hoje, agora)</a:t>
            </a:r>
          </a:p>
          <a:p>
            <a:r>
              <a:rPr lang="pt-BR" sz="2000" dirty="0" err="1"/>
              <a:t>Subtituir</a:t>
            </a:r>
            <a:r>
              <a:rPr lang="pt-BR" sz="2000" dirty="0"/>
              <a:t> Formula, </a:t>
            </a:r>
            <a:r>
              <a:rPr lang="pt-BR" sz="2000" dirty="0" err="1"/>
              <a:t>caracter</a:t>
            </a:r>
            <a:r>
              <a:rPr lang="pt-BR" sz="2000" dirty="0"/>
              <a:t> curinga “?” e “ * “</a:t>
            </a:r>
          </a:p>
          <a:p>
            <a:r>
              <a:rPr lang="pt-BR" sz="2000" dirty="0"/>
              <a:t>Referencia Absoluta e relativa</a:t>
            </a:r>
          </a:p>
          <a:p>
            <a:r>
              <a:rPr lang="pt-BR" sz="2000" dirty="0"/>
              <a:t>Formatação: pincel, personalizada</a:t>
            </a:r>
          </a:p>
          <a:p>
            <a:r>
              <a:rPr lang="pt-BR" sz="2000" dirty="0"/>
              <a:t>Lista e </a:t>
            </a:r>
            <a:r>
              <a:rPr lang="pt-BR" sz="2000" dirty="0" err="1"/>
              <a:t>auto-preenchimento</a:t>
            </a:r>
            <a:endParaRPr lang="pt-BR" sz="2000" dirty="0"/>
          </a:p>
          <a:p>
            <a:r>
              <a:rPr lang="pt-BR" sz="2000" dirty="0"/>
              <a:t>Tipos de Erro em formulas</a:t>
            </a:r>
          </a:p>
          <a:p>
            <a:r>
              <a:rPr lang="pt-BR" sz="2000" dirty="0"/>
              <a:t>Referencia Circulas</a:t>
            </a:r>
          </a:p>
          <a:p>
            <a:r>
              <a:rPr lang="pt-BR" sz="2000" dirty="0"/>
              <a:t>Atingir Meta</a:t>
            </a:r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/>
              <a:t>Caminho: Guia dados&gt; grupo Estrutura de </a:t>
            </a:r>
            <a:r>
              <a:rPr lang="pt-BR" sz="2000" dirty="0" err="1"/>
              <a:t>Topicos</a:t>
            </a:r>
            <a:r>
              <a:rPr lang="pt-BR" sz="2000" dirty="0"/>
              <a:t>&gt; Menu Agrupar&gt;Comando Agrupar.</a:t>
            </a:r>
          </a:p>
          <a:p>
            <a:r>
              <a:rPr lang="pt-BR" sz="2000" dirty="0"/>
              <a:t>Para limpar vá no menu </a:t>
            </a:r>
            <a:r>
              <a:rPr lang="pt-BR" sz="2000" dirty="0" err="1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37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/>
              <a:t>Qual o valor total de estoque que será dada a entrada no sistema (valor da célula E14 e F14)?</a:t>
            </a:r>
          </a:p>
          <a:p>
            <a:r>
              <a:rPr lang="pt-BR" sz="1800" dirty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Desc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inteira: </a:t>
            </a:r>
            <a:r>
              <a:rPr lang="pt-BR" sz="1400" dirty="0" err="1"/>
              <a:t>Corbel</a:t>
            </a:r>
            <a:r>
              <a:rPr lang="pt-BR" sz="1400" dirty="0"/>
              <a:t>,  10, Preto, Alinhado à Direit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espesso das células em Branco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Linhas Horizontais pontilhada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err="1"/>
              <a:t>Dolar</a:t>
            </a:r>
            <a:r>
              <a:rPr lang="pt-BR" sz="1400" dirty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Reais personalizado: 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loque um agrupamento na linha 4:5</a:t>
            </a:r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Abrir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Área de trabalh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Salvar 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us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Deletar:: acesse comando de Edição, Selecione o Balão e pressione Delete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0</a:t>
            </a:r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algn="just"/>
            <a:r>
              <a:rPr lang="pt-BR" sz="2000" dirty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/>
              <a:t>1 - Ela inicia e termina o dia 01/07/2017 com R$ 0 de Saldo. </a:t>
            </a:r>
          </a:p>
          <a:p>
            <a:pPr algn="just"/>
            <a:r>
              <a:rPr lang="pt-BR" sz="2000" dirty="0"/>
              <a:t>2 - Todas as segundas ela sempre recebe 50.000 R$ e nos demais 4 dias recebe 5.000 R$.</a:t>
            </a:r>
          </a:p>
          <a:p>
            <a:pPr algn="just"/>
            <a:r>
              <a:rPr lang="pt-BR" sz="2000" dirty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/>
              <a:t>4 - No dia 20/07 ela tem um pagamento adicional da folha de R$ 15.000. </a:t>
            </a:r>
          </a:p>
          <a:p>
            <a:pPr algn="just"/>
            <a:r>
              <a:rPr lang="pt-BR" sz="2000" dirty="0"/>
              <a:t>5 - Sábado e Domingo não tem movimento de dinheiro.</a:t>
            </a:r>
          </a:p>
          <a:p>
            <a:pPr algn="just"/>
            <a:r>
              <a:rPr lang="pt-BR" sz="2000" dirty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  <p:sp>
        <p:nvSpPr>
          <p:cNvPr id="5" name="Elipse 4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Ocultar e </a:t>
            </a:r>
            <a:r>
              <a:rPr lang="pt-BR" sz="2000" dirty="0" err="1"/>
              <a:t>Desocultar</a:t>
            </a:r>
            <a:r>
              <a:rPr lang="pt-BR" sz="2000" dirty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Inserir, Ocultar, </a:t>
            </a:r>
            <a:r>
              <a:rPr lang="pt-BR" sz="2000" dirty="0" err="1"/>
              <a:t>Desocultar</a:t>
            </a:r>
            <a:r>
              <a:rPr lang="pt-BR" sz="2000" dirty="0"/>
              <a:t>, Copiar,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/>
              <a:t>Permite modificar diversas planilhas ao mesmo tempo.</a:t>
            </a:r>
          </a:p>
          <a:p>
            <a:r>
              <a:rPr lang="pt-BR" sz="2000" dirty="0"/>
              <a:t>Usar fórmulas para ler o conteúdo das planilhas sem precisar referenciá-las.</a:t>
            </a:r>
          </a:p>
          <a:p>
            <a:r>
              <a:rPr lang="pt-BR" sz="2000" dirty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Ação:</a:t>
            </a:r>
          </a:p>
          <a:p>
            <a:r>
              <a:rPr lang="pt-BR" sz="2000" dirty="0"/>
              <a:t>1 - Clicar na aba da planilha com o </a:t>
            </a:r>
            <a:r>
              <a:rPr lang="pt-BR" sz="2000" dirty="0" err="1"/>
              <a:t>Crtl</a:t>
            </a:r>
            <a:r>
              <a:rPr lang="pt-BR" sz="2000" dirty="0"/>
              <a:t> pressionado</a:t>
            </a:r>
          </a:p>
          <a:p>
            <a:r>
              <a:rPr lang="pt-BR" sz="2000" dirty="0"/>
              <a:t>2-Selecionar a primeira planilha, segurar Shift e clicar na ultima</a:t>
            </a:r>
          </a:p>
          <a:p>
            <a:r>
              <a:rPr lang="pt-BR" sz="2000" dirty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Fórmulas 3D;</a:t>
            </a:r>
          </a:p>
          <a:p>
            <a:r>
              <a:rPr lang="pt-BR" sz="2000" dirty="0"/>
              <a:t>Digite a fórmula, Secione a primeira planilha, segure shift e clique na última, [</a:t>
            </a:r>
            <a:r>
              <a:rPr lang="pt-BR" sz="2000" dirty="0" err="1"/>
              <a:t>Enter</a:t>
            </a:r>
            <a:r>
              <a:rPr lang="pt-BR" sz="2000" dirty="0"/>
              <a:t>]</a:t>
            </a:r>
          </a:p>
          <a:p>
            <a:r>
              <a:rPr lang="pt-BR" sz="2000" dirty="0"/>
              <a:t>=SOMA('Planilha1:Planilha4'!D34)</a:t>
            </a:r>
          </a:p>
          <a:p>
            <a:pPr marL="0" indent="0">
              <a:buNone/>
            </a:pPr>
            <a:r>
              <a:rPr lang="pt-BR" sz="2000" dirty="0"/>
              <a:t> 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5</a:t>
            </a:r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Matriz.</a:t>
            </a:r>
          </a:p>
          <a:p>
            <a:pPr algn="just"/>
            <a:r>
              <a:rPr lang="pt-BR" sz="1800" dirty="0"/>
              <a:t>Filial Rio: possui 70% do Budget da filial Ceará.</a:t>
            </a:r>
          </a:p>
          <a:p>
            <a:pPr algn="just"/>
            <a:r>
              <a:rPr lang="pt-BR" sz="1800" dirty="0"/>
              <a:t>Filial SP: possui o equivalente ao Budget da matriz + 30% da filial Rio.</a:t>
            </a:r>
          </a:p>
          <a:p>
            <a:pPr algn="just"/>
            <a:r>
              <a:rPr lang="pt-BR" sz="1800" dirty="0"/>
              <a:t>Despesa de salários: FIXO em 21.300.000R$/ ano para cada uma das Filiais.</a:t>
            </a:r>
          </a:p>
          <a:p>
            <a:pPr algn="just"/>
            <a:r>
              <a:rPr lang="pt-BR" sz="1800" dirty="0"/>
              <a:t>Fazer o orçamento de cada filial em uma aba separada e uma consolidada com a soma de toda a empresa (inclusive Matriz).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unidade que mais gasta?</a:t>
            </a:r>
          </a:p>
          <a:p>
            <a:r>
              <a:rPr lang="pt-BR" sz="1800" dirty="0"/>
              <a:t>Qual o gasto total da empresa?</a:t>
            </a:r>
          </a:p>
          <a:p>
            <a:r>
              <a:rPr lang="pt-BR" sz="1800" dirty="0"/>
              <a:t>Qual a conta que mais gasta?</a:t>
            </a:r>
          </a:p>
          <a:p>
            <a:r>
              <a:rPr lang="pt-BR" sz="1800" dirty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é o percentual da despesa total do grupo que é gasto com Consultoria e Assessoria?</a:t>
            </a:r>
          </a:p>
          <a:p>
            <a:r>
              <a:rPr lang="pt-BR" sz="1800" dirty="0"/>
              <a:t>Qual percentual de gastos total da filia RJ sobre o total do grupo?</a:t>
            </a:r>
          </a:p>
          <a:p>
            <a:r>
              <a:rPr lang="pt-BR" sz="1800" dirty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vinculo a outra planilha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algn="just"/>
            <a:r>
              <a:rPr lang="pt-BR" sz="1800" dirty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/>
              <a:t>4) Mantenha a grade anterior intacta, pois o diretor deseja comparar o antes e depois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O Excel Permite Classificar as listas (linhas e também colunas [fig2]) automaticamente de acordo com regras pré-estabelecidas (ordem numérica ou ordem alfabética) em diversos níveis de classificação tanto crescente quando </a:t>
            </a:r>
            <a:r>
              <a:rPr lang="pt-BR" sz="1600" dirty="0" err="1">
                <a:latin typeface="Corbel" panose="020B0503020204020204" pitchFamily="34" charset="0"/>
              </a:rPr>
              <a:t>descrescente</a:t>
            </a:r>
            <a:r>
              <a:rPr lang="pt-BR" sz="1600" dirty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>
                <a:latin typeface="Corbel" panose="020B0503020204020204" pitchFamily="34" charset="0"/>
              </a:rPr>
              <a:t>Nome de Um pais </a:t>
            </a:r>
            <a:r>
              <a:rPr lang="pt-BR" sz="1600" dirty="0">
                <a:latin typeface="Corbel" panose="020B0503020204020204" pitchFamily="34" charset="0"/>
              </a:rPr>
              <a:t>e depois </a:t>
            </a:r>
            <a:r>
              <a:rPr lang="pt-BR" sz="1600" b="1" u="sng" dirty="0">
                <a:latin typeface="Corbel" panose="020B0503020204020204" pitchFamily="34" charset="0"/>
              </a:rPr>
              <a:t>pelo Estado</a:t>
            </a:r>
            <a:r>
              <a:rPr lang="pt-BR" sz="1600" dirty="0">
                <a:latin typeface="Corbel" panose="020B0503020204020204" pitchFamily="34" charset="0"/>
              </a:rPr>
              <a:t>: 2 níveis (fig1)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Fazer ordenação: Selecionar intervalo, Guia Dados, grupo classificar e Filtrar, comando classificar (permite +1 nível de classificação) </a:t>
            </a:r>
            <a:r>
              <a:rPr lang="pt-BR" sz="16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>
                <a:latin typeface="Corbel" panose="020B0503020204020204" pitchFamily="34" charset="0"/>
              </a:rPr>
              <a:t> Botão direito na coluna que quer usar como referencia&gt; Classificar. (somente 1 nível de classificação)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2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>
                <a:latin typeface="Corbel" panose="020B0503020204020204" pitchFamily="34" charset="0"/>
              </a:rPr>
              <a:t>Auto-filtro</a:t>
            </a:r>
            <a:r>
              <a:rPr lang="pt-BR" sz="1800" dirty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- Filtro por Cor , valor único ou intervalo de valores, texto, caracteres curingas ( * e  ? 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? &gt; “1 único” </a:t>
            </a:r>
            <a:r>
              <a:rPr lang="pt-BR" sz="1800" dirty="0" err="1">
                <a:latin typeface="Corbel" panose="020B0503020204020204" pitchFamily="34" charset="0"/>
              </a:rPr>
              <a:t>caracter</a:t>
            </a:r>
            <a:r>
              <a:rPr lang="pt-BR" sz="1800" dirty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”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Maioria das FÓRMULAS  desconsidera o FILTRO. Exceção: formula 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7120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Subtota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>
                <a:latin typeface="Corbel" panose="020B0503020204020204" pitchFamily="34" charset="0"/>
              </a:rPr>
              <a:t>fig</a:t>
            </a:r>
            <a:r>
              <a:rPr lang="pt-BR" sz="1800" dirty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Selecionar Lista (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+</a:t>
            </a:r>
            <a:r>
              <a:rPr lang="pt-BR" sz="1800" dirty="0" err="1">
                <a:latin typeface="Corbel" panose="020B0503020204020204" pitchFamily="34" charset="0"/>
              </a:rPr>
              <a:t>Shit</a:t>
            </a:r>
            <a:r>
              <a:rPr lang="pt-BR" sz="1800" dirty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Use esse comando somente APÓS usar o comando de classificaçã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/>
              <a:t>Toda vez que tiver alteração na Coluna “Empresa” o Excel vai usar a função Soma nas coluna “Mai”, “</a:t>
            </a:r>
            <a:r>
              <a:rPr lang="pt-BR" sz="1200" dirty="0" err="1"/>
              <a:t>Jun</a:t>
            </a:r>
            <a:r>
              <a:rPr lang="pt-BR" sz="1200" dirty="0"/>
              <a:t>”, “</a:t>
            </a:r>
            <a:r>
              <a:rPr lang="pt-BR" sz="1200" dirty="0" err="1"/>
              <a:t>Ago</a:t>
            </a:r>
            <a:r>
              <a:rPr lang="pt-BR" sz="1200" dirty="0"/>
              <a:t>” e “Set”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xcel inseriu uma linha (Banco do Vale Total) com a Soma (4000+2073) no local onde houve alteração (De Banco do Vale para Bradesco)</a:t>
            </a:r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</p:spTree>
    <p:extLst>
      <p:ext uri="{BB962C8B-B14F-4D97-AF65-F5344CB8AC3E}">
        <p14:creationId xmlns:p14="http://schemas.microsoft.com/office/powerpoint/2010/main" val="39424026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Sempre Leia as informações do assistente de função: elas te ajudarão a  entender como montar fórmulas mais complexas</a:t>
            </a:r>
            <a:endParaRPr lang="pt-BR" sz="1800" b="1" dirty="0">
              <a:solidFill>
                <a:srgbClr val="FF0000"/>
              </a:solidFill>
            </a:endParaRP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/>
              <a:t>Dicas no Uso de PROCV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Argumento “</a:t>
            </a:r>
            <a:r>
              <a:rPr lang="pt-BR" sz="1800" dirty="0" err="1"/>
              <a:t>Num_Indice</a:t>
            </a:r>
            <a:r>
              <a:rPr lang="pt-BR" sz="1800" dirty="0"/>
              <a:t> Coluna”/ </a:t>
            </a:r>
            <a:r>
              <a:rPr lang="pt-BR" sz="1800" dirty="0" err="1"/>
              <a:t>Nºda</a:t>
            </a:r>
            <a:r>
              <a:rPr lang="pt-BR" sz="1800" dirty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O Argumento de procurar intervalo:</a:t>
            </a:r>
          </a:p>
          <a:p>
            <a:pPr algn="l"/>
            <a:r>
              <a:rPr lang="pt-BR" sz="1800" dirty="0"/>
              <a:t>	</a:t>
            </a:r>
            <a:r>
              <a:rPr lang="pt-BR" sz="1800" dirty="0" err="1"/>
              <a:t>Paramêtro</a:t>
            </a:r>
            <a:r>
              <a:rPr lang="pt-BR" sz="1800" dirty="0"/>
              <a:t> Falso por ser substituído por “0”: será usado em 90% dos casos (casos onde procuro um CODIGO)</a:t>
            </a:r>
          </a:p>
          <a:p>
            <a:pPr algn="l"/>
            <a:r>
              <a:rPr lang="pt-BR" sz="1800" dirty="0"/>
              <a:t>	Parâmetro VERDADEIRO pode ser </a:t>
            </a:r>
            <a:r>
              <a:rPr lang="pt-BR" sz="1800" dirty="0" err="1"/>
              <a:t>subsituído</a:t>
            </a:r>
            <a:r>
              <a:rPr lang="pt-BR" sz="1800" dirty="0"/>
              <a:t>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2460570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/>
              <a:t>Ao trabalhar com banco de dados, utilizar comando Texto para Colunas do Excel</a:t>
            </a:r>
          </a:p>
          <a:p>
            <a:pPr>
              <a:buFontTx/>
              <a:buChar char="-"/>
            </a:pPr>
            <a:r>
              <a:rPr lang="pt-BR" sz="1800" dirty="0"/>
              <a:t>&gt;No comando Abrir, ou copiando do Arquivo </a:t>
            </a:r>
            <a:r>
              <a:rPr lang="pt-BR" sz="1800" dirty="0" err="1"/>
              <a:t>txt</a:t>
            </a:r>
            <a:r>
              <a:rPr lang="pt-BR" sz="1800" dirty="0"/>
              <a:t> e colando no Excel:</a:t>
            </a:r>
          </a:p>
          <a:p>
            <a:pPr marL="0" indent="0">
              <a:buNone/>
            </a:pPr>
            <a:r>
              <a:rPr lang="pt-BR" sz="1800" dirty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Coluna com tamanho Fixo ou existe algum carácter 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Onde separam-se as colunas (informar carácter ou a desenhar a divisória de coluna)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Dizer o tipo de dado de cada Coluna (texto ou 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142910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Classificação de Listas simples (1 nível)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Classificação Avançadas (2 níveis, Colunas e personalizada)</a:t>
            </a:r>
          </a:p>
          <a:p>
            <a:pPr>
              <a:lnSpc>
                <a:spcPct val="150000"/>
              </a:lnSpc>
            </a:pPr>
            <a:r>
              <a:rPr lang="pt-BR" sz="2000" dirty="0" err="1"/>
              <a:t>Auto-agrupamento</a:t>
            </a:r>
            <a:r>
              <a:rPr lang="pt-BR" sz="2000" dirty="0"/>
              <a:t> e estrutura de tópico com relatório de Subtotal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uto Filtro simple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no </a:t>
            </a:r>
            <a:r>
              <a:rPr lang="pt-BR" sz="2000" dirty="0" err="1"/>
              <a:t>auto-filtro</a:t>
            </a:r>
            <a:r>
              <a:rPr lang="pt-BR" sz="2000" dirty="0"/>
              <a:t> com </a:t>
            </a:r>
            <a:r>
              <a:rPr lang="pt-BR" sz="2000" dirty="0" err="1"/>
              <a:t>caracter</a:t>
            </a:r>
            <a:r>
              <a:rPr lang="pt-BR" sz="2000" dirty="0"/>
              <a:t> curing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</a:t>
            </a:r>
            <a:r>
              <a:rPr lang="pt-BR" sz="2000" dirty="0" err="1"/>
              <a:t>autofiltro</a:t>
            </a:r>
            <a:r>
              <a:rPr lang="pt-BR" sz="2000" dirty="0"/>
              <a:t> por c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 PROCV (valor exato x intervalo ) 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Referencia externa à formula no </a:t>
            </a:r>
            <a:r>
              <a:rPr lang="pt-BR" sz="2000" dirty="0" err="1"/>
              <a:t>Procv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Colar especial transp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brir um arquivo </a:t>
            </a:r>
            <a:r>
              <a:rPr lang="pt-BR" sz="2000" dirty="0" err="1"/>
              <a:t>txt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Texto para colunas em 3 passos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359456047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5049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tabela de Vendedores</a:t>
            </a:r>
          </a:p>
          <a:p>
            <a:pPr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Total de Comissão a pagar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3 tipos de comissão: Fixa, variável e sem comissão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R$ RESULTADO: 1851,40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Filtro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1089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8778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de Vendas (Excel e </a:t>
            </a:r>
            <a:r>
              <a:rPr lang="pt-BR" sz="2000" dirty="0" err="1"/>
              <a:t>txt</a:t>
            </a:r>
            <a:r>
              <a:rPr lang="pt-BR" sz="2000" dirty="0"/>
              <a:t>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vendedor com mais vendas (em R$)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Categoria </a:t>
            </a:r>
            <a:r>
              <a:rPr lang="pt-BR" sz="2000" strike="dblStrike" dirty="0">
                <a:solidFill>
                  <a:srgbClr val="FF0000"/>
                </a:solidFill>
              </a:rPr>
              <a:t>de Eletrodoméstico </a:t>
            </a:r>
            <a:r>
              <a:rPr lang="pt-BR" sz="2000" dirty="0"/>
              <a:t>com mais vendas (em R$)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loja menos vendeu (R$) 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ntas (</a:t>
            </a:r>
            <a:r>
              <a:rPr lang="pt-BR" sz="2000" dirty="0" err="1"/>
              <a:t>qtd</a:t>
            </a:r>
            <a:r>
              <a:rPr lang="pt-BR" sz="2000" dirty="0"/>
              <a:t>) vendas foram realizadas no mês de Dezembro/14?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Dica: classificação, Subtotal, </a:t>
            </a:r>
            <a:r>
              <a:rPr lang="pt-BR" sz="2000" dirty="0" err="1"/>
              <a:t>Procv</a:t>
            </a:r>
            <a:r>
              <a:rPr lang="pt-BR" sz="2000" dirty="0"/>
              <a:t>, Concatenar, formula Direita, abrir </a:t>
            </a:r>
            <a:r>
              <a:rPr lang="pt-BR" sz="2000" dirty="0" err="1"/>
              <a:t>txt</a:t>
            </a:r>
            <a:r>
              <a:rPr lang="pt-BR" sz="2000" dirty="0"/>
              <a:t>, texto para colunas (cuidado com campo de ID-Produto = manter tipo Texto)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b="1" dirty="0">
                <a:solidFill>
                  <a:srgbClr val="FF0000"/>
                </a:solidFill>
              </a:rPr>
              <a:t>REINICIO ÀS 13:20 – RESOLUÇÃO AS 13:40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Vamos relembrar PROCV e Subtotal 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363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Ao atender a 1 critério especifico, faz a soma de acordo com a parâmetro informado. As função sã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MÉDI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* ?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las trabalham em conjunto com a o fluxo de símbolos abaixo que dizem qual é o Critério:</a:t>
            </a:r>
          </a:p>
          <a:p>
            <a:pPr marL="0" indent="0">
              <a:buNone/>
            </a:pPr>
            <a:r>
              <a:rPr lang="pt-BR" sz="1800" dirty="0"/>
              <a:t>2) &gt; (maior do que ) ; &lt; (menor do que) ;  = (igual a ); &lt;&gt; (diferente de)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/>
              <a:t>Usando a formula  acima você consegue somar somente valores que atendam às condições proposta usando os símbolos d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2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qual venda média por ‘Segmento’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vendas para todos os  </a:t>
            </a:r>
            <a:r>
              <a:rPr lang="pt-BR" sz="1800" strike="dblStrike" dirty="0">
                <a:solidFill>
                  <a:srgbClr val="FF0000"/>
                </a:solidFill>
              </a:rPr>
              <a:t>Fornecedores</a:t>
            </a:r>
            <a:r>
              <a:rPr lang="pt-BR" sz="1800" dirty="0"/>
              <a:t> </a:t>
            </a:r>
            <a:r>
              <a:rPr lang="pt-BR" sz="1800" b="1" dirty="0">
                <a:highlight>
                  <a:srgbClr val="FFFF00"/>
                </a:highlight>
              </a:rPr>
              <a:t>Fabrica</a:t>
            </a:r>
            <a:r>
              <a:rPr lang="pt-BR" sz="1800" dirty="0"/>
              <a:t>nte que começa com “</a:t>
            </a:r>
            <a:r>
              <a:rPr lang="pt-BR" sz="1800" dirty="0" err="1"/>
              <a:t>Br</a:t>
            </a:r>
            <a:r>
              <a:rPr lang="pt-BR" sz="1800" dirty="0"/>
              <a:t>” no nome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todas as vendas desconsiderando e</a:t>
            </a:r>
            <a:r>
              <a:rPr lang="pt-BR" sz="1800" dirty="0">
                <a:highlight>
                  <a:srgbClr val="FFFF00"/>
                </a:highlight>
              </a:rPr>
              <a:t>stado</a:t>
            </a:r>
            <a:r>
              <a:rPr lang="pt-BR" sz="1800" dirty="0"/>
              <a:t> de “São Paulo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Qual a soma onde o </a:t>
            </a:r>
            <a:r>
              <a:rPr lang="pt-BR" sz="1800" dirty="0">
                <a:highlight>
                  <a:srgbClr val="FFFF00"/>
                </a:highlight>
              </a:rPr>
              <a:t>nome do vendedor </a:t>
            </a:r>
            <a:r>
              <a:rPr lang="pt-BR" sz="1800" dirty="0"/>
              <a:t>não possui nenhuma letra “E”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Qual total de vendas feitas desde Dez/2013 até hoje. E Anterior à Dez/2013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84281604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68335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O Excel possui uma biblioteca muito rica para analise visual de informação: </a:t>
            </a:r>
            <a:r>
              <a:rPr lang="pt-BR" sz="1800" dirty="0" err="1"/>
              <a:t>Graficos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rincipais Tipos de Gráfico:</a:t>
            </a:r>
          </a:p>
          <a:p>
            <a:r>
              <a:rPr lang="pt-BR" sz="1800" dirty="0"/>
              <a:t>Linha: quando queremos analisar séries temporais</a:t>
            </a:r>
          </a:p>
          <a:p>
            <a:r>
              <a:rPr lang="pt-BR" sz="1800" dirty="0"/>
              <a:t>Barra: quando queremos comparar grupos</a:t>
            </a:r>
          </a:p>
          <a:p>
            <a:r>
              <a:rPr lang="pt-BR" sz="18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O Excel possui uma biblioteca muito rica para analise visual de informação: </a:t>
            </a:r>
            <a:r>
              <a:rPr lang="pt-BR" sz="1600" dirty="0" smtClean="0"/>
              <a:t>Gráficos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1)Selecionar </a:t>
            </a:r>
            <a:r>
              <a:rPr lang="pt-BR" sz="1600" dirty="0"/>
              <a:t>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2)Selecionar dados e pressionar </a:t>
            </a:r>
            <a:r>
              <a:rPr lang="pt-BR" sz="1600" dirty="0" smtClean="0"/>
              <a:t>F11 .</a:t>
            </a:r>
            <a:endParaRPr lang="pt-BR" sz="1600" dirty="0" smtClean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Principais Tipos de Gráfico:</a:t>
            </a:r>
          </a:p>
          <a:p>
            <a:r>
              <a:rPr lang="pt-BR" sz="1600" dirty="0"/>
              <a:t>Linha: quando queremos analisar séries temporais</a:t>
            </a:r>
          </a:p>
          <a:p>
            <a:r>
              <a:rPr lang="pt-BR" sz="1600" dirty="0"/>
              <a:t>Barra: quando queremos comparar grupos</a:t>
            </a:r>
          </a:p>
          <a:p>
            <a:r>
              <a:rPr lang="pt-BR" sz="16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444935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áfico 4"/>
          <p:cNvGraphicFramePr>
            <a:graphicFrameLocks/>
          </p:cNvGraphicFramePr>
          <p:nvPr>
            <p:extLst/>
          </p:nvPr>
        </p:nvGraphicFramePr>
        <p:xfrm>
          <a:off x="188903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6854353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 smtClean="0"/>
              <a:t>Ao criar um gráfico você editar e alterar sua cor, formatação, inserir rotulo e mesmo alterar o tipo de gráfico (</a:t>
            </a:r>
            <a:r>
              <a:rPr lang="pt-BR" sz="1600" dirty="0" err="1" smtClean="0"/>
              <a:t>Ex</a:t>
            </a:r>
            <a:r>
              <a:rPr lang="pt-BR" sz="1600" dirty="0" smtClean="0"/>
              <a:t>: de </a:t>
            </a:r>
            <a:r>
              <a:rPr lang="pt-BR" sz="1600" dirty="0" err="1" smtClean="0"/>
              <a:t>puizza</a:t>
            </a:r>
            <a:r>
              <a:rPr lang="pt-BR" sz="1600" dirty="0" smtClean="0"/>
              <a:t> para Linha)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Selecionar o gráfico e clique com o botão direito do mouse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 ou Selecionar o gráfico e utilize as guias : Design e Pagina inicial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1125239" y="3197133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/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4546170" y="3302598"/>
          <a:ext cx="1843872" cy="1847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eta para a Direita 1"/>
          <p:cNvSpPr/>
          <p:nvPr/>
        </p:nvSpPr>
        <p:spPr>
          <a:xfrm>
            <a:off x="3603812" y="3818965"/>
            <a:ext cx="505609" cy="3550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261825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/>
              <a:t>Abrir </a:t>
            </a:r>
            <a:r>
              <a:rPr lang="pt-BR" sz="2000" dirty="0" err="1" smtClean="0"/>
              <a:t>Txt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Texto para colun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iltro</a:t>
            </a:r>
          </a:p>
          <a:p>
            <a:pPr>
              <a:lnSpc>
                <a:spcPct val="150000"/>
              </a:lnSpc>
            </a:pPr>
            <a:r>
              <a:rPr lang="pt-BR" sz="2000" dirty="0" err="1" smtClean="0"/>
              <a:t>Procv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Fórmulas de Banco </a:t>
            </a:r>
            <a:r>
              <a:rPr lang="pt-BR" sz="2000" dirty="0"/>
              <a:t>de </a:t>
            </a:r>
            <a:r>
              <a:rPr lang="pt-BR" sz="2000" dirty="0" err="1"/>
              <a:t>Dados:Somase</a:t>
            </a:r>
            <a:r>
              <a:rPr lang="pt-BR" sz="2000" dirty="0"/>
              <a:t>, Cont.se, </a:t>
            </a:r>
            <a:r>
              <a:rPr lang="pt-BR" sz="2000" dirty="0" err="1"/>
              <a:t>médiase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 smtClean="0"/>
              <a:t>Formulas de Texto: Concatenar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Gráfico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atação de Gráficos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14847121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lementos Gráfic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álculo da Equação da Reta diz qual a  TENDENCIA do comportamento dos dado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Relembrando conceito matemático do Ginásio!!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- Equação da reta: Ao obter dois pontos, é possível calcular qualquer ponto no Gráfico inclusive estimar um ponto qualquer na reta (projeção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Adicionar linha de tendência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categoria a estimar, botão direito, adicionar tendência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ainda </a:t>
            </a:r>
            <a:r>
              <a:rPr lang="pt-BR" sz="1800" dirty="0" err="1"/>
              <a:t>slecionar</a:t>
            </a:r>
            <a:r>
              <a:rPr lang="pt-BR" sz="1800" dirty="0"/>
              <a:t> o tipo de equação : Linear, Exponencial, Potenciação, etc..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134284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MOVER DUPLICAD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03729" y="103166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omando do Excel para remover automaticamente registros duplicado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Pode ser usado para uma única coluna quanto colunas combinad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uia dados&gt; Grupo Ferramenta de dados&gt; Comando Remover duplicat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selecionar uma única coluna ou intervalo inteir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729" y="3505648"/>
            <a:ext cx="3298567" cy="164306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4919" y="3482374"/>
            <a:ext cx="3345292" cy="1666334"/>
          </a:xfrm>
          <a:prstGeom prst="rect">
            <a:avLst/>
          </a:prstGeom>
        </p:spPr>
      </p:pic>
      <p:sp>
        <p:nvSpPr>
          <p:cNvPr id="5" name="Seta para Baixo 4"/>
          <p:cNvSpPr/>
          <p:nvPr/>
        </p:nvSpPr>
        <p:spPr>
          <a:xfrm>
            <a:off x="1914861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 para Baixo 7"/>
          <p:cNvSpPr/>
          <p:nvPr/>
        </p:nvSpPr>
        <p:spPr>
          <a:xfrm>
            <a:off x="7510630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1161826" y="5852160"/>
            <a:ext cx="2990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az 1 única linha para cada estado (estado não repete)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5556491" y="5838521"/>
            <a:ext cx="58250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ás 1 única linha para cada estado combinado com a cidade (estado ou cidade podem repetir individualmente, mas a combinação de ambos não repete)</a:t>
            </a:r>
          </a:p>
        </p:txBody>
      </p:sp>
    </p:spTree>
    <p:extLst>
      <p:ext uri="{BB962C8B-B14F-4D97-AF65-F5344CB8AC3E}">
        <p14:creationId xmlns:p14="http://schemas.microsoft.com/office/powerpoint/2010/main" val="84654648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3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V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idade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lcule o preço médio de cada um dos itens acima (total de vendas dividido pela contagem de registros).</a:t>
            </a:r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4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 extraída do sistema ERP de um relatório da contabilidade que não possui campos de descrição do Diretor responsável (arquivo Fornecedores.txt). </a:t>
            </a: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ruze este banco de dados com o cadastro de outro sistema (De para </a:t>
            </a:r>
            <a:r>
              <a:rPr lang="pt-BR" sz="1800" dirty="0" err="1">
                <a:latin typeface="Corbel" panose="020B0503020204020204" pitchFamily="34" charset="0"/>
              </a:rPr>
              <a:t>CCusto</a:t>
            </a:r>
            <a:r>
              <a:rPr lang="pt-BR" sz="1800" dirty="0">
                <a:latin typeface="Corbel" panose="020B0503020204020204" pitchFamily="34" charset="0"/>
              </a:rPr>
              <a:t> X 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valor gasto total da empresa com “MATERIAL IMPRESSO 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gasto total do Diretor Silvio (para centros de custo identificados)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is os dados (responsável, fornecedor, diretor)  da NOTA de maior valor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aça um relatório de Gasto por Diretor (inclua diretores não identificados = vazio)</a:t>
            </a: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Dica: Converter Todos os IDS para numero (usar substituição), PROCV, Relatório Subtotal, Texto para Coluna, FILTRO, Classificação, formula banco de dados .</a:t>
            </a: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Utilize o relatório de Vendas para mostrar graficamente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1)Durante todos o período, qual a curva de Vendas Totais mês a mê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2) Como é representado graficamente as vendas por </a:t>
            </a:r>
            <a:r>
              <a:rPr lang="pt-BR" sz="1800" dirty="0" err="1"/>
              <a:t>Forncedor</a:t>
            </a:r>
            <a:r>
              <a:rPr lang="pt-BR" sz="1800" dirty="0"/>
              <a:t> (barra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 Quem vendeu Menos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3) Mostre graficamente a participação de cada vendedor no total de venda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Quem vendeu Meno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7182161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rojete 2 anos de vendas no relatório de VENDAS.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um gráfico de linhas e estime pela equação Linear, potenciação, </a:t>
            </a:r>
            <a:r>
              <a:rPr lang="pt-BR" sz="1800" dirty="0" err="1"/>
              <a:t>exponenciação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81603754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RIAR LISTA PERSONALIZAD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Guia Arquivos, Menu Opções, Menu Avançado, Espaço Geral, Editar Lista Personalizada, Selecionar lista e clicar em Impor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406420548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Uma Empresa em Dificuldades financeira precisa priorizar seus pagamento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O Banco de dados a pagar esta contido no arquivo Priorização de Pagamentos.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A empresa possui apenas 400 MIL REAIS  em caixa para realizar os pagamentos. Através das diretrizes de prioridades, separe todos os boletos que precisam ser pagos em um arquivo apartad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31018632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Fazer um relatório do fluxo de caixa diário para 1 ano.</a:t>
            </a:r>
          </a:p>
          <a:p>
            <a:pPr algn="just"/>
            <a:r>
              <a:rPr lang="pt-BR" sz="2000" dirty="0"/>
              <a:t>1- Cada mês será em uma Planilha diferente</a:t>
            </a:r>
          </a:p>
          <a:p>
            <a:pPr algn="just"/>
            <a:r>
              <a:rPr lang="pt-BR" sz="2000" dirty="0"/>
              <a:t>2 -Inicia em 01/01/2017 com 0 de saldo Inicial. Termina em 31/12/2017.</a:t>
            </a:r>
          </a:p>
          <a:p>
            <a:pPr algn="just"/>
            <a:r>
              <a:rPr lang="pt-BR" sz="2000" dirty="0"/>
              <a:t>3- Toda terça tem pagamento de fornecedor no valor de 9.000 e às terças de 8.000.</a:t>
            </a:r>
          </a:p>
          <a:p>
            <a:pPr algn="just"/>
            <a:r>
              <a:rPr lang="pt-BR" sz="2000" dirty="0"/>
              <a:t>4 -Todo dia 5 e dia 20 de cada mês tem despesa adicional de 15.000 e 7.000 respectivamente.</a:t>
            </a:r>
          </a:p>
          <a:p>
            <a:pPr algn="just"/>
            <a:r>
              <a:rPr lang="pt-BR" sz="2000" dirty="0"/>
              <a:t>5- A partir de setembro, todos os pagamentos aumentam 7%.</a:t>
            </a:r>
          </a:p>
          <a:p>
            <a:pPr algn="just"/>
            <a:r>
              <a:rPr lang="pt-BR" sz="2000" dirty="0"/>
              <a:t>6 – Os recebimentos de vendas são depositadas todas as segundas no valor de 21.000 (constantes o  ano inteiro)</a:t>
            </a:r>
          </a:p>
          <a:p>
            <a:pPr algn="just"/>
            <a:r>
              <a:rPr lang="pt-BR" sz="2000" dirty="0"/>
              <a:t>7- Os recebimentos de venda de sucata são depositadas às quartas no valor de 3.000 (constantes ano 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No fim do ano haverá sobra ou falta de caixa? Quanto? Destaque pela cor vermelha a  planilha referente ao mês de menor 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use a planilha anterior, copia de planilhas e formatação, referência externa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 Criar relatório de fluxo de caixa de 1 ano com entradas, saídas e saldo.</a:t>
            </a:r>
          </a:p>
          <a:p>
            <a:pPr algn="just"/>
            <a:r>
              <a:rPr lang="pt-BR" sz="2000" dirty="0"/>
              <a:t>1 - Um mês em cada planilha.</a:t>
            </a:r>
          </a:p>
          <a:p>
            <a:pPr algn="just"/>
            <a:r>
              <a:rPr lang="pt-BR" sz="2000" dirty="0"/>
              <a:t>2 - Entrada/Recebimentos  Às terças de R$ 3.000, demais dias de R$ 2.000 (bruto)</a:t>
            </a:r>
          </a:p>
          <a:p>
            <a:pPr algn="just"/>
            <a:r>
              <a:rPr lang="pt-BR" sz="2000" dirty="0"/>
              <a:t>3 - Saídas/Pagamentos as quintas de R$ 4.000, demais dias de R$ 1.600 (bruto)</a:t>
            </a:r>
          </a:p>
          <a:p>
            <a:pPr algn="just"/>
            <a:r>
              <a:rPr lang="pt-BR" sz="2000" dirty="0"/>
              <a:t>4 - Todo dia 15 de cada mês, saída adicional de 6.000 (bruto)</a:t>
            </a:r>
          </a:p>
          <a:p>
            <a:pPr algn="just"/>
            <a:r>
              <a:rPr lang="pt-BR" sz="2000" dirty="0"/>
              <a:t>5 - calcular imposto ICMS de 18% sobre entrada/recebimentos + </a:t>
            </a:r>
            <a:r>
              <a:rPr lang="pt-BR" sz="2000" dirty="0" err="1"/>
              <a:t>Pis</a:t>
            </a:r>
            <a:r>
              <a:rPr lang="pt-BR" sz="2000" dirty="0"/>
              <a:t>/</a:t>
            </a:r>
            <a:r>
              <a:rPr lang="pt-BR" sz="2000" dirty="0" err="1"/>
              <a:t>Cofins</a:t>
            </a:r>
            <a:r>
              <a:rPr lang="pt-BR" sz="2000" dirty="0"/>
              <a:t> de 9,25%.</a:t>
            </a:r>
          </a:p>
          <a:p>
            <a:pPr algn="just"/>
            <a:r>
              <a:rPr lang="pt-BR" sz="2000" dirty="0"/>
              <a:t>6 - calcular imposto de 9,25% sobre saída/pagamentos.</a:t>
            </a:r>
          </a:p>
          <a:p>
            <a:pPr algn="just"/>
            <a:r>
              <a:rPr lang="pt-BR" sz="2000" dirty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Fórmula soma 3D, formula aritmética, formatação, copia de planilhas, referência externa.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2- Mostre os dados acima em uma única aba de forma que possamos comparar entre os meses.</a:t>
            </a:r>
          </a:p>
          <a:p>
            <a:pPr algn="just"/>
            <a:r>
              <a:rPr lang="pt-BR" sz="2000" dirty="0"/>
              <a:t>Dica: Recortar e colar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437FDA83-7F6A-40EA-BF64-6C09404FA777}"/>
              </a:ext>
            </a:extLst>
          </p:cNvPr>
          <p:cNvSpPr txBox="1">
            <a:spLocks/>
          </p:cNvSpPr>
          <p:nvPr/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600" dirty="0"/>
              <a:t>PASTA AULA 4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/>
              <a:t>ARQUIVOS ESTAO NA PASTA CARRETEIROS,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/>
              <a:t>QUEM NÃO CONSEGUIR ARQUIVOS, PEGAR PEN DRIVE AQUI NA FRENTE</a:t>
            </a:r>
          </a:p>
          <a:p>
            <a:pPr algn="just"/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32545493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nsciência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mpetência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º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º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º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º</a:t>
            </a:r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17</TotalTime>
  <Words>5400</Words>
  <Application>Microsoft Office PowerPoint</Application>
  <PresentationFormat>Widescreen</PresentationFormat>
  <Paragraphs>717</Paragraphs>
  <Slides>76</Slides>
  <Notes>0</Notes>
  <HiddenSlides>7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6</vt:i4>
      </vt:variant>
    </vt:vector>
  </HeadingPairs>
  <TitlesOfParts>
    <vt:vector size="82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370</cp:revision>
  <dcterms:created xsi:type="dcterms:W3CDTF">2018-08-19T15:50:37Z</dcterms:created>
  <dcterms:modified xsi:type="dcterms:W3CDTF">2018-12-06T15:54:28Z</dcterms:modified>
</cp:coreProperties>
</file>